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839" r:id="rId1"/>
  </p:sldMasterIdLst>
  <p:notesMasterIdLst>
    <p:notesMasterId r:id="rId19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</p:sldIdLst>
  <p:sldSz cx="9144000" cy="5143500" type="screen16x9"/>
  <p:notesSz cx="6858000" cy="9144000"/>
  <p:embeddedFontLst>
    <p:embeddedFont>
      <p:font typeface="Fira Sans Extra Condensed" panose="020B0503050000020004" pitchFamily="34" charset="0"/>
      <p:regular r:id="rId20"/>
      <p:bold r:id="rId21"/>
      <p:italic r:id="rId22"/>
      <p:boldItalic r:id="rId23"/>
    </p:embeddedFont>
    <p:embeddedFont>
      <p:font typeface="Lato" panose="020F0502020204030203" pitchFamily="34" charset="0"/>
      <p:regular r:id="rId24"/>
      <p:bold r:id="rId25"/>
      <p:italic r:id="rId26"/>
      <p:boldItalic r:id="rId27"/>
    </p:embeddedFont>
    <p:embeddedFont>
      <p:font typeface="Montserrat" panose="00000500000000000000" pitchFamily="2" charset="0"/>
      <p:regular r:id="rId28"/>
      <p:bold r:id="rId29"/>
      <p:italic r:id="rId30"/>
      <p:boldItalic r:id="rId31"/>
    </p:embeddedFont>
    <p:embeddedFont>
      <p:font typeface="Open Sans" panose="020B0606030504020204" pitchFamily="34" charset="0"/>
      <p:regular r:id="rId32"/>
      <p:bold r:id="rId33"/>
      <p:italic r:id="rId34"/>
      <p:boldItalic r:id="rId35"/>
    </p:embeddedFont>
    <p:embeddedFont>
      <p:font typeface="Oswald Light" panose="00000400000000000000" pitchFamily="2" charset="0"/>
      <p:regular r:id="rId36"/>
      <p:bold r:id="rId37"/>
    </p:embeddedFont>
    <p:embeddedFont>
      <p:font typeface="Roboto" panose="02000000000000000000" pitchFamily="2" charset="0"/>
      <p:regular r:id="rId38"/>
      <p:bold r:id="rId39"/>
      <p:italic r:id="rId40"/>
      <p:boldItalic r:id="rId4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84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36">
          <p15:clr>
            <a:srgbClr val="747775"/>
          </p15:clr>
        </p15:guide>
        <p15:guide id="4" pos="252">
          <p15:clr>
            <a:srgbClr val="747775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4" roundtripDataSignature="AMtx7miyAj02LjGCE0GrZCs2evpI+4Bc2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7C5727-7C25-456F-90CA-31B737483BC4}" v="55" dt="2024-12-30T04:27:45.645"/>
  </p1510:revLst>
</p1510:revInfo>
</file>

<file path=ppt/tableStyles.xml><?xml version="1.0" encoding="utf-8"?>
<a:tblStyleLst xmlns:a="http://schemas.openxmlformats.org/drawingml/2006/main" def="{4B1EDE36-2210-4140-B68C-54EC92417216}">
  <a:tblStyle styleId="{4B1EDE36-2210-4140-B68C-54EC9241721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874" y="58"/>
      </p:cViewPr>
      <p:guideLst>
        <p:guide orient="horz" pos="1584"/>
        <p:guide pos="2880"/>
        <p:guide orient="horz" pos="936"/>
        <p:guide pos="2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font" Target="fonts/font21.fntdata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59" Type="http://schemas.microsoft.com/office/2015/10/relationships/revisionInfo" Target="revisionInfo.xml"/><Relationship Id="rId20" Type="http://schemas.openxmlformats.org/officeDocument/2006/relationships/font" Target="fonts/font1.fntdata"/><Relationship Id="rId41" Type="http://schemas.openxmlformats.org/officeDocument/2006/relationships/font" Target="fonts/font22.fntdata"/><Relationship Id="rId54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" name="Google Shape;100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23d3d1a5626_0_1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23d3d1a5626_0_1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g23d3d1a5626_0_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6" name="Google Shape;206;g23d3d1a5626_0_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g239ccac1fab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Google Shape;217;g239ccac1fab_0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g23d3d1a5626_1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4" name="Google Shape;234;g23d3d1a5626_1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23d3d1a5626_1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23d3d1a5626_1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23d3d1a5626_1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23d3d1a5626_1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23d3d1a5626_1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23d3d1a5626_1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49:notes"/>
          <p:cNvSpPr txBox="1">
            <a:spLocks noGrp="1"/>
          </p:cNvSpPr>
          <p:nvPr>
            <p:ph type="body" idx="1"/>
          </p:nvPr>
        </p:nvSpPr>
        <p:spPr>
          <a:xfrm>
            <a:off x="685800" y="4343378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69" name="Google Shape;269;p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g2381a228482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" name="Google Shape;107;g2381a228482_0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g23d3d1a5626_0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2" name="Google Shape;122;g23d3d1a5626_0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23d3d1a5626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" name="Google Shape;130;g23d3d1a5626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g23d3d1a5626_1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" name="Google Shape;141;g23d3d1a5626_1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g23d3d1a5626_0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1" name="Google Shape;151;g23d3d1a5626_0_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g23d3d1a5626_0_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2" name="Google Shape;162;g23d3d1a5626_0_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23d3d1a5626_0_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0" name="Google Shape;170;g23d3d1a5626_0_9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23d4cef3cc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23d4cef3cc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A0AC9-4BD6-9FD2-6975-A7ED2F1439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3F33B3-CC18-8B86-25F6-28252FFECE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2812F6-636E-FA37-67A1-0D8531491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6114B-0A82-7F39-70EF-2F7C21AC8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F9CB9-0022-A1FF-8C0A-2D9349328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89620870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D2847-A936-3015-E614-7C78F1203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1761B9-3882-3FD8-4DA3-B835590DCE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81B2E8-C65E-193D-BCD6-819EC6CB4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DDEBB-7C13-2821-AB7B-9F7D08841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7F1E2-F3B6-8165-BC56-6648CC498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4679880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BA61AB1-D658-8075-65B7-8B8F4F5774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C8AC16-241A-6ACF-9454-C99D7FE7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F0CAB0-9DC1-2910-AFBC-3C15E4E12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62F02E-AA48-ABAA-5ACF-DF4489E12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94E9D1-4DC5-B74C-0F33-08D65CC14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8983201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rang trình bày chứa tiêu đề 1">
  <p:cSld name="Trang trình bày chứa tiêu đề 1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ctrTitle"/>
          </p:nvPr>
        </p:nvSpPr>
        <p:spPr>
          <a:xfrm>
            <a:off x="4570500" y="1531888"/>
            <a:ext cx="4116300" cy="15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4500" b="1">
                <a:solidFill>
                  <a:srgbClr val="11111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subTitle" idx="1"/>
          </p:nvPr>
        </p:nvSpPr>
        <p:spPr>
          <a:xfrm>
            <a:off x="4570503" y="3235113"/>
            <a:ext cx="4116300" cy="37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400">
                <a:latin typeface="Roboto"/>
                <a:ea typeface="Roboto"/>
                <a:cs typeface="Roboto"/>
                <a:sym typeface="Roboto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5056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ED7C7-F0C7-BD05-53A1-93017AE98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C01CF8-784C-6DC2-54C7-B51DCE2AF7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318C23-B75D-E0B1-22B9-A6371620A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E8F020-8673-DD6F-E00D-1F7CBB13C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BE7453-9A0A-A72A-B723-55575021A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86677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8D1CA-214C-55B5-CB99-A6259EBEC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3FE312-9F76-A447-7759-229E29A1AC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7249B9-5617-2CD7-12B9-82F66D43D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C0823-CC69-759D-C51D-92B7CF63B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847B14-DD74-C4D9-AC8E-C77692440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55557706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00AC4-21BE-CC1B-CB9C-0C2871695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621141-9F0B-30EE-D7B1-B445846CB3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0F39BF-6727-A810-427B-BD51BAF545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E2F26D-4378-7CAA-CE69-9DBCC7EFD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C5B402-919A-21AB-0761-05ACDBEA9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F5CE8C-F483-6151-5E8D-C31516A34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03049482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C57DD-A07B-0397-8295-FEB8F3D6C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F90C8B-F76D-EBA6-D47B-3234520B25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4D145-ECA8-1DA0-BBD2-2DCA20D8F0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F7E689-A863-7394-67A1-75558A48DD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DFEA85-9513-A228-BF27-167551BF48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620411-3D52-D076-D0B6-95392D322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C716953-6C10-B262-7A21-DF3EC52AA2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60262-F8C0-3DAA-B442-13D7D9927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034557694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395F0-EBF1-204F-4D7A-C4330523A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5E5CA6-2255-4F0C-C754-6F47895313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DE99F6-A7F6-97CD-48E9-45957FA2B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B8ED47-8284-F6E7-FAD9-0712C4D7E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21305823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CDCA7-8BB3-31A8-EAEE-BE6E1BFAC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5ABFA4-E7E2-D395-D192-6D1606FE3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B6B32D-2244-4BD9-251E-7C269CAE8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33820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3F4D6-1DCC-CCA0-F387-2D40F3BFE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18D768-F45F-C378-6128-35BC25806F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15DE6A-C963-489F-2914-CDBACBE9D0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A7C67D-B142-2095-F74A-D2106BB760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820521-EFB9-C2EE-15F4-FB1780A42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A21C09-6880-6450-E257-F6B6A5B65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2137567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E8E26-4200-884F-71A1-F53C88D88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919395-EC41-B1D7-182A-E723AE2AA01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442C30-0B1E-BB1D-3814-263A138468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9FA4B7-C425-621D-F9E2-366C5C150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EAEC32-E9CF-F30F-7AF5-591205178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9E9C94-C626-C178-24A9-5BF467A20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4475706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A1B8829-0B37-E5F6-5315-FBDAD30DC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DB9773-ACE7-2A91-9745-79C84859A7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08D0B4-8A99-0A86-E8EB-2FA7AA9FD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7E5FF79-3582-4C34-8B52-B226412502B9}" type="datetimeFigureOut">
              <a:rPr lang="en-IN" smtClean="0"/>
              <a:t>29-12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942347-8C04-17C4-1BD4-0F02DBE1DF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D4B18-31A3-A876-DADB-4B1453ADB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3988428-9BE1-47DD-B967-8E06B2792F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0501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45" imgH="245" progId="TCLayout.ActiveDocument.1">
                  <p:embed/>
                </p:oleObj>
              </mc:Choice>
              <mc:Fallback>
                <p:oleObj name="think-cell Slide" r:id="rId15" imgW="245" imgH="24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92BA5A-7D1A-AD97-C768-E0E9B7A50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0817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D5DF6EF-3B44-372C-C637-1B767B35E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43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Google Shape;102;p1"/>
          <p:cNvSpPr txBox="1">
            <a:spLocks noGrp="1"/>
          </p:cNvSpPr>
          <p:nvPr>
            <p:ph type="ctrTitle"/>
          </p:nvPr>
        </p:nvSpPr>
        <p:spPr>
          <a:xfrm>
            <a:off x="345550" y="1844545"/>
            <a:ext cx="9029100" cy="18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900" dirty="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rPr>
              <a:t>Supply Chain Analytics</a:t>
            </a:r>
            <a:r>
              <a:rPr lang="en" sz="4900" dirty="0">
                <a:solidFill>
                  <a:schemeClr val="lt1"/>
                </a:solidFill>
              </a:rPr>
              <a:t> </a:t>
            </a:r>
            <a:endParaRPr sz="4900" dirty="0">
              <a:solidFill>
                <a:schemeClr val="lt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00" dirty="0">
                <a:solidFill>
                  <a:schemeClr val="accent2"/>
                </a:solidFill>
              </a:rPr>
              <a:t>Maersk Supply Chain Optimization</a:t>
            </a:r>
            <a:br>
              <a:rPr lang="en-US" sz="2700" dirty="0">
                <a:solidFill>
                  <a:schemeClr val="accent2"/>
                </a:solidFill>
              </a:rPr>
            </a:br>
            <a:br>
              <a:rPr lang="en-US" sz="2700" dirty="0">
                <a:solidFill>
                  <a:schemeClr val="accent2"/>
                </a:solidFill>
              </a:rPr>
            </a:br>
            <a:r>
              <a:rPr lang="en-US" sz="2700" dirty="0">
                <a:solidFill>
                  <a:schemeClr val="accent2"/>
                </a:solidFill>
              </a:rPr>
              <a:t>Rohan Giri</a:t>
            </a:r>
            <a:br>
              <a:rPr lang="en-US" sz="2700" dirty="0">
                <a:solidFill>
                  <a:schemeClr val="accent2"/>
                </a:solidFill>
              </a:rPr>
            </a:br>
            <a:r>
              <a:rPr lang="en-US" sz="2700" dirty="0">
                <a:solidFill>
                  <a:schemeClr val="accent2"/>
                </a:solidFill>
              </a:rPr>
              <a:t>MS in Business Analytic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90"/>
              <a:buNone/>
            </a:pPr>
            <a:endParaRPr sz="4000" dirty="0">
              <a:solidFill>
                <a:srgbClr val="2F4B7C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104" name="Google Shape;104;p1"/>
          <p:cNvCxnSpPr/>
          <p:nvPr/>
        </p:nvCxnSpPr>
        <p:spPr>
          <a:xfrm>
            <a:off x="345550" y="1068693"/>
            <a:ext cx="5537700" cy="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AB225029-A933-878B-307D-8401F738C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339" y="3721293"/>
            <a:ext cx="4305585" cy="1497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434EB718-AB02-3EF8-B12E-AFA3CE18A5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" y="4140296"/>
            <a:ext cx="4137660" cy="950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g23d3d1a5626_0_104"/>
          <p:cNvSpPr txBox="1"/>
          <p:nvPr/>
        </p:nvSpPr>
        <p:spPr>
          <a:xfrm>
            <a:off x="174575" y="111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2. Inventory management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96" name="Google Shape;196;g23d3d1a5626_0_10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14383" y="588325"/>
            <a:ext cx="5708841" cy="3367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g23d3d1a5626_0_104"/>
          <p:cNvSpPr txBox="1"/>
          <p:nvPr/>
        </p:nvSpPr>
        <p:spPr>
          <a:xfrm>
            <a:off x="6023225" y="1415025"/>
            <a:ext cx="2646300" cy="66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The company is frequently having </a:t>
            </a:r>
            <a:r>
              <a:rPr lang="en" sz="1200" b="1" u="sng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excessive inventory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 or overstocked</a:t>
            </a:r>
            <a:endParaRPr sz="1200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198" name="Google Shape;198;g23d3d1a5626_0_104"/>
          <p:cNvCxnSpPr/>
          <p:nvPr/>
        </p:nvCxnSpPr>
        <p:spPr>
          <a:xfrm>
            <a:off x="4830250" y="1645575"/>
            <a:ext cx="0" cy="7983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9" name="Google Shape;199;g23d3d1a5626_0_104"/>
          <p:cNvCxnSpPr>
            <a:endCxn id="197" idx="1"/>
          </p:cNvCxnSpPr>
          <p:nvPr/>
        </p:nvCxnSpPr>
        <p:spPr>
          <a:xfrm rot="10800000" flipH="1">
            <a:off x="4840325" y="1748325"/>
            <a:ext cx="1182900" cy="3333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0" name="Google Shape;200;g23d3d1a5626_0_104"/>
          <p:cNvSpPr txBox="1"/>
          <p:nvPr/>
        </p:nvSpPr>
        <p:spPr>
          <a:xfrm>
            <a:off x="6023225" y="2918800"/>
            <a:ext cx="2737800" cy="7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Inventory fluctuates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 strongly at times, even though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customers’ demand 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is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quite stable</a:t>
            </a:r>
            <a:endParaRPr u="sng">
              <a:solidFill>
                <a:schemeClr val="accent3"/>
              </a:solidFill>
            </a:endParaRPr>
          </a:p>
        </p:txBody>
      </p:sp>
      <p:cxnSp>
        <p:nvCxnSpPr>
          <p:cNvPr id="201" name="Google Shape;201;g23d3d1a5626_0_104"/>
          <p:cNvCxnSpPr>
            <a:endCxn id="200" idx="1"/>
          </p:cNvCxnSpPr>
          <p:nvPr/>
        </p:nvCxnSpPr>
        <p:spPr>
          <a:xfrm>
            <a:off x="3910625" y="2495950"/>
            <a:ext cx="2112600" cy="8199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2" name="Google Shape;202;g23d3d1a5626_0_104"/>
          <p:cNvCxnSpPr>
            <a:endCxn id="200" idx="1"/>
          </p:cNvCxnSpPr>
          <p:nvPr/>
        </p:nvCxnSpPr>
        <p:spPr>
          <a:xfrm>
            <a:off x="2648225" y="2799850"/>
            <a:ext cx="3375000" cy="516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3" name="Google Shape;203;g23d3d1a5626_0_104"/>
          <p:cNvSpPr/>
          <p:nvPr/>
        </p:nvSpPr>
        <p:spPr>
          <a:xfrm>
            <a:off x="1098750" y="4133400"/>
            <a:ext cx="6946500" cy="6813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6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he company is facing the challenge of not being able to maintain a stable warehouse inventory to meet the ordering demand of customers</a:t>
            </a:r>
            <a:endParaRPr sz="1600" b="1" i="0" u="none" strike="noStrike" cap="none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8" name="Google Shape;208;g23d3d1a5626_0_11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5825" y="408864"/>
            <a:ext cx="4645200" cy="31986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" name="Google Shape;209;g23d3d1a5626_0_11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799400" y="150075"/>
            <a:ext cx="4217472" cy="324817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10" name="Google Shape;210;g23d3d1a5626_0_112"/>
          <p:cNvCxnSpPr/>
          <p:nvPr/>
        </p:nvCxnSpPr>
        <p:spPr>
          <a:xfrm rot="10800000">
            <a:off x="7141300" y="1215925"/>
            <a:ext cx="3000" cy="1815600"/>
          </a:xfrm>
          <a:prstGeom prst="straightConnector1">
            <a:avLst/>
          </a:prstGeom>
          <a:noFill/>
          <a:ln w="28575" cap="flat" cmpd="sng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211" name="Google Shape;211;g23d3d1a5626_0_112"/>
          <p:cNvSpPr txBox="1"/>
          <p:nvPr/>
        </p:nvSpPr>
        <p:spPr>
          <a:xfrm>
            <a:off x="174575" y="351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3. Delay shipment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12" name="Google Shape;212;g23d3d1a5626_0_112"/>
          <p:cNvSpPr txBox="1"/>
          <p:nvPr/>
        </p:nvSpPr>
        <p:spPr>
          <a:xfrm>
            <a:off x="4838075" y="3216350"/>
            <a:ext cx="4185600" cy="78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Most</a:t>
            </a:r>
            <a:r>
              <a:rPr lang="en" sz="13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product departments have LSRs </a:t>
            </a: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around the 40% mark</a:t>
            </a:r>
            <a:r>
              <a:rPr lang="en" sz="13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, except for</a:t>
            </a: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 technology</a:t>
            </a:r>
            <a:r>
              <a:rPr lang="en" sz="13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whose rates go up to more than</a:t>
            </a: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 50%.</a:t>
            </a:r>
            <a:endParaRPr sz="1300" i="0" u="none" strike="noStrike" cap="none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13" name="Google Shape;213;g23d3d1a5626_0_112"/>
          <p:cNvSpPr txBox="1"/>
          <p:nvPr/>
        </p:nvSpPr>
        <p:spPr>
          <a:xfrm>
            <a:off x="215825" y="3416450"/>
            <a:ext cx="4185600" cy="3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300" b="1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LSR range from</a:t>
            </a: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 40% to 50%</a:t>
            </a:r>
            <a:endParaRPr sz="1300" i="0" u="none" strike="noStrike" cap="none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14" name="Google Shape;214;g23d3d1a5626_0_112"/>
          <p:cNvSpPr/>
          <p:nvPr/>
        </p:nvSpPr>
        <p:spPr>
          <a:xfrm>
            <a:off x="508350" y="4059925"/>
            <a:ext cx="8127300" cy="7851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6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he high late shipment rate of average 40% over a long time which remains concerning and indicates inefficiencies in the shipping system that need improvement</a:t>
            </a:r>
            <a:endParaRPr sz="1600" b="1" i="0" u="none" strike="noStrike" cap="none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239ccac1fab_0_45"/>
          <p:cNvSpPr txBox="1"/>
          <p:nvPr/>
        </p:nvSpPr>
        <p:spPr>
          <a:xfrm>
            <a:off x="7325" y="59825"/>
            <a:ext cx="8450700" cy="63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6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he company is facing </a:t>
            </a:r>
            <a:r>
              <a:rPr lang="en" sz="1600" u="sng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hree main</a:t>
            </a:r>
            <a:r>
              <a:rPr lang="en" sz="16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supply chain issues that need to be addressed</a:t>
            </a:r>
            <a:endParaRPr sz="1600" i="0" u="none" strike="noStrike" cap="none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0" name="Google Shape;220;g239ccac1fab_0_45"/>
          <p:cNvSpPr txBox="1"/>
          <p:nvPr/>
        </p:nvSpPr>
        <p:spPr>
          <a:xfrm>
            <a:off x="576000" y="2637175"/>
            <a:ext cx="2247600" cy="586500"/>
          </a:xfrm>
          <a:prstGeom prst="rect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Supply chain inefficiencies</a:t>
            </a:r>
            <a:endParaRPr b="1" i="0" u="none" strike="noStrike" cap="none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1" name="Google Shape;221;g239ccac1fab_0_45"/>
          <p:cNvSpPr txBox="1"/>
          <p:nvPr/>
        </p:nvSpPr>
        <p:spPr>
          <a:xfrm>
            <a:off x="3199400" y="1597602"/>
            <a:ext cx="1822500" cy="633000"/>
          </a:xfrm>
          <a:prstGeom prst="rect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Ineffective inventory management</a:t>
            </a:r>
            <a:endParaRPr sz="1300" b="1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2" name="Google Shape;222;g239ccac1fab_0_45"/>
          <p:cNvSpPr txBox="1"/>
          <p:nvPr/>
        </p:nvSpPr>
        <p:spPr>
          <a:xfrm>
            <a:off x="3199575" y="3592325"/>
            <a:ext cx="1822500" cy="633000"/>
          </a:xfrm>
          <a:prstGeom prst="rect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3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Ineffective shipment system</a:t>
            </a:r>
            <a:endParaRPr sz="1300" b="1" i="0" u="none" strike="noStrike" cap="none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3" name="Google Shape;223;g239ccac1fab_0_45"/>
          <p:cNvSpPr txBox="1"/>
          <p:nvPr/>
        </p:nvSpPr>
        <p:spPr>
          <a:xfrm>
            <a:off x="6066850" y="2310277"/>
            <a:ext cx="1822500" cy="633000"/>
          </a:xfrm>
          <a:prstGeom prst="rect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3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Overstock and understock</a:t>
            </a:r>
            <a:endParaRPr sz="1300" b="1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4" name="Google Shape;224;g239ccac1fab_0_45"/>
          <p:cNvSpPr txBox="1"/>
          <p:nvPr/>
        </p:nvSpPr>
        <p:spPr>
          <a:xfrm>
            <a:off x="6066850" y="821250"/>
            <a:ext cx="1822500" cy="633000"/>
          </a:xfrm>
          <a:prstGeom prst="rect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3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Supplier network disruption</a:t>
            </a:r>
            <a:endParaRPr sz="1300" b="1" i="0" u="none" strike="noStrike" cap="none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5" name="Google Shape;225;g239ccac1fab_0_45"/>
          <p:cNvSpPr txBox="1"/>
          <p:nvPr/>
        </p:nvSpPr>
        <p:spPr>
          <a:xfrm>
            <a:off x="6066850" y="3592325"/>
            <a:ext cx="1822500" cy="633000"/>
          </a:xfrm>
          <a:prstGeom prst="rect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3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High late </a:t>
            </a:r>
            <a:endParaRPr sz="1300" b="1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3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shipment rate</a:t>
            </a:r>
            <a:endParaRPr sz="1300" b="1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26" name="Google Shape;226;g239ccac1fab_0_45"/>
          <p:cNvCxnSpPr>
            <a:stCxn id="221" idx="3"/>
            <a:endCxn id="224" idx="1"/>
          </p:cNvCxnSpPr>
          <p:nvPr/>
        </p:nvCxnSpPr>
        <p:spPr>
          <a:xfrm rot="10800000" flipH="1">
            <a:off x="5021900" y="1137702"/>
            <a:ext cx="1044900" cy="7764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7" name="Google Shape;227;g239ccac1fab_0_45"/>
          <p:cNvCxnSpPr>
            <a:stCxn id="223" idx="1"/>
            <a:endCxn id="221" idx="3"/>
          </p:cNvCxnSpPr>
          <p:nvPr/>
        </p:nvCxnSpPr>
        <p:spPr>
          <a:xfrm rot="10800000">
            <a:off x="5021950" y="1913977"/>
            <a:ext cx="1044900" cy="7128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8" name="Google Shape;228;g239ccac1fab_0_45"/>
          <p:cNvCxnSpPr>
            <a:stCxn id="225" idx="1"/>
            <a:endCxn id="222" idx="3"/>
          </p:cNvCxnSpPr>
          <p:nvPr/>
        </p:nvCxnSpPr>
        <p:spPr>
          <a:xfrm rot="10800000">
            <a:off x="5021950" y="3908825"/>
            <a:ext cx="10449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29" name="Google Shape;229;g239ccac1fab_0_45"/>
          <p:cNvCxnSpPr>
            <a:stCxn id="220" idx="3"/>
            <a:endCxn id="221" idx="1"/>
          </p:cNvCxnSpPr>
          <p:nvPr/>
        </p:nvCxnSpPr>
        <p:spPr>
          <a:xfrm rot="10800000" flipH="1">
            <a:off x="2823600" y="1914025"/>
            <a:ext cx="375900" cy="10164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0" name="Google Shape;230;g239ccac1fab_0_45"/>
          <p:cNvCxnSpPr>
            <a:stCxn id="222" idx="1"/>
            <a:endCxn id="220" idx="3"/>
          </p:cNvCxnSpPr>
          <p:nvPr/>
        </p:nvCxnSpPr>
        <p:spPr>
          <a:xfrm rot="10800000">
            <a:off x="2823675" y="2930525"/>
            <a:ext cx="375900" cy="9783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1" name="Google Shape;231;g239ccac1fab_0_45"/>
          <p:cNvCxnSpPr/>
          <p:nvPr/>
        </p:nvCxnSpPr>
        <p:spPr>
          <a:xfrm>
            <a:off x="-1" y="524432"/>
            <a:ext cx="9144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6" name="Google Shape;236;g23d3d1a5626_1_2"/>
          <p:cNvCxnSpPr/>
          <p:nvPr/>
        </p:nvCxnSpPr>
        <p:spPr>
          <a:xfrm>
            <a:off x="-1" y="524432"/>
            <a:ext cx="9144000" cy="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7" name="Google Shape;237;g23d3d1a5626_1_2"/>
          <p:cNvSpPr txBox="1"/>
          <p:nvPr/>
        </p:nvSpPr>
        <p:spPr>
          <a:xfrm>
            <a:off x="3091732" y="2121638"/>
            <a:ext cx="5550300" cy="9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</a:pPr>
            <a:r>
              <a:rPr lang="en" sz="5400" b="1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Proposal</a:t>
            </a:r>
            <a:endParaRPr sz="54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38" name="Google Shape;238;g23d3d1a5626_1_2"/>
          <p:cNvSpPr/>
          <p:nvPr/>
        </p:nvSpPr>
        <p:spPr>
          <a:xfrm>
            <a:off x="1151378" y="1890337"/>
            <a:ext cx="1372800" cy="137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" sz="4500" b="1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0</a:t>
            </a:r>
            <a:r>
              <a:rPr lang="en" sz="4500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3</a:t>
            </a:r>
            <a:endParaRPr sz="3300" b="1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39" name="Google Shape;239;g23d3d1a5626_1_2"/>
          <p:cNvSpPr txBox="1"/>
          <p:nvPr/>
        </p:nvSpPr>
        <p:spPr>
          <a:xfrm>
            <a:off x="400053" y="100981"/>
            <a:ext cx="1921800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2000">
                <a:solidFill>
                  <a:schemeClr val="dk1"/>
                </a:solidFill>
                <a:latin typeface="Oswald Light"/>
                <a:ea typeface="Oswald Light"/>
                <a:cs typeface="Oswald Light"/>
                <a:sym typeface="Oswald Light"/>
              </a:rPr>
              <a:t>Just in Time</a:t>
            </a:r>
            <a:endParaRPr sz="2200" b="0" i="0" u="none" strike="noStrike" cap="none">
              <a:solidFill>
                <a:schemeClr val="dk1"/>
              </a:solidFill>
              <a:latin typeface="Oswald Light"/>
              <a:ea typeface="Oswald Light"/>
              <a:cs typeface="Oswald Light"/>
              <a:sym typeface="Oswald Ligh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Google Shape;244;g23d3d1a5626_1_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23850" y="588325"/>
            <a:ext cx="5771549" cy="3372875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g23d3d1a5626_1_9"/>
          <p:cNvSpPr txBox="1"/>
          <p:nvPr/>
        </p:nvSpPr>
        <p:spPr>
          <a:xfrm>
            <a:off x="174575" y="111325"/>
            <a:ext cx="41283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46" name="Google Shape;246;g23d3d1a5626_1_9"/>
          <p:cNvSpPr txBox="1"/>
          <p:nvPr/>
        </p:nvSpPr>
        <p:spPr>
          <a:xfrm>
            <a:off x="174575" y="111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1. Supplier disruption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47" name="Google Shape;247;g23d3d1a5626_1_9"/>
          <p:cNvSpPr txBox="1"/>
          <p:nvPr/>
        </p:nvSpPr>
        <p:spPr>
          <a:xfrm>
            <a:off x="436900" y="3893400"/>
            <a:ext cx="5453400" cy="7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12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Over time, the tendency to join shopping online rise sharply in the LATAM, then in turn to Europe, Pacific Asia, North America and Africa. This 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trend continues to repeat</a:t>
            </a:r>
            <a:r>
              <a:rPr lang="en" sz="12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 from the LATAM</a:t>
            </a:r>
            <a:endParaRPr sz="1200" i="0" u="none" strike="noStrike" cap="none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248" name="Google Shape;248;g23d3d1a5626_1_9"/>
          <p:cNvCxnSpPr/>
          <p:nvPr/>
        </p:nvCxnSpPr>
        <p:spPr>
          <a:xfrm>
            <a:off x="485050" y="3900575"/>
            <a:ext cx="5082900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9" name="Google Shape;249;g23d3d1a5626_1_9"/>
          <p:cNvSpPr txBox="1"/>
          <p:nvPr/>
        </p:nvSpPr>
        <p:spPr>
          <a:xfrm>
            <a:off x="6246700" y="588325"/>
            <a:ext cx="2814600" cy="8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In </a:t>
            </a:r>
            <a:r>
              <a:rPr lang="en" sz="1200" b="1" u="sng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short term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, the company should focus on suppliers in the likely </a:t>
            </a:r>
            <a:r>
              <a:rPr lang="en" sz="1200" b="1" u="sng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growing customer group in Asia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, especially those that provide emerging </a:t>
            </a:r>
            <a:r>
              <a:rPr lang="en" sz="1200" b="1" u="sng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product departments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 such as technology.</a:t>
            </a:r>
            <a:endParaRPr sz="1200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50" name="Google Shape;250;g23d3d1a5626_1_9"/>
          <p:cNvSpPr txBox="1"/>
          <p:nvPr/>
        </p:nvSpPr>
        <p:spPr>
          <a:xfrm>
            <a:off x="6246700" y="2421375"/>
            <a:ext cx="2814600" cy="143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In the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long term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, the next main customer group is likely to be from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North America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, the company needs to take advantage of the time to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redesign the supplier network 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to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recalling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 old best selling departments</a:t>
            </a:r>
            <a:endParaRPr u="sng">
              <a:solidFill>
                <a:schemeClr val="accent3"/>
              </a:solidFill>
            </a:endParaRPr>
          </a:p>
        </p:txBody>
      </p:sp>
      <p:cxnSp>
        <p:nvCxnSpPr>
          <p:cNvPr id="251" name="Google Shape;251;g23d3d1a5626_1_9"/>
          <p:cNvCxnSpPr>
            <a:endCxn id="249" idx="1"/>
          </p:cNvCxnSpPr>
          <p:nvPr/>
        </p:nvCxnSpPr>
        <p:spPr>
          <a:xfrm rot="10800000" flipH="1">
            <a:off x="5668900" y="1029325"/>
            <a:ext cx="577800" cy="13293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2" name="Google Shape;252;g23d3d1a5626_1_9"/>
          <p:cNvCxnSpPr>
            <a:endCxn id="249" idx="1"/>
          </p:cNvCxnSpPr>
          <p:nvPr/>
        </p:nvCxnSpPr>
        <p:spPr>
          <a:xfrm rot="10800000" flipH="1">
            <a:off x="2667700" y="1029325"/>
            <a:ext cx="3579000" cy="7695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3" name="Google Shape;253;g23d3d1a5626_1_9"/>
          <p:cNvCxnSpPr>
            <a:endCxn id="250" idx="1"/>
          </p:cNvCxnSpPr>
          <p:nvPr/>
        </p:nvCxnSpPr>
        <p:spPr>
          <a:xfrm>
            <a:off x="3304300" y="2496075"/>
            <a:ext cx="2942400" cy="6411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8" name="Google Shape;258;g23d3d1a5626_1_30"/>
          <p:cNvGraphicFramePr/>
          <p:nvPr/>
        </p:nvGraphicFramePr>
        <p:xfrm>
          <a:off x="952500" y="769625"/>
          <a:ext cx="7239000" cy="3817500"/>
        </p:xfrm>
        <a:graphic>
          <a:graphicData uri="http://schemas.openxmlformats.org/drawingml/2006/table">
            <a:tbl>
              <a:tblPr>
                <a:noFill/>
                <a:tableStyleId>{4B1EDE36-2210-4140-B68C-54EC92417216}</a:tableStyleId>
              </a:tblPr>
              <a:tblGrid>
                <a:gridCol w="241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3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b="1">
                          <a:solidFill>
                            <a:schemeClr val="accent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all to action</a:t>
                      </a:r>
                      <a:endParaRPr b="1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b="1">
                          <a:solidFill>
                            <a:schemeClr val="accent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Objective</a:t>
                      </a:r>
                      <a:endParaRPr b="1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accent2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Forecasting demand</a:t>
                      </a:r>
                      <a:endParaRPr>
                        <a:solidFill>
                          <a:schemeClr val="accent2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Analyzing historical sales data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Tracking market trends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Employing predictive analytics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Anticipate future demand, allowing to maintain an optimal inventory level.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accent2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Setting up controlling indicators for each product</a:t>
                      </a:r>
                      <a:endParaRPr>
                        <a:solidFill>
                          <a:schemeClr val="accent2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Reorder points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Lead time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Sales velocity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Desired safety stock levels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Ensuring the company replenishes stock in a timely manner without risking overstocking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accent2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Predicting the product life cycle for each region (if possible)</a:t>
                      </a:r>
                      <a:endParaRPr>
                        <a:solidFill>
                          <a:schemeClr val="accent2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alculate the appropriate amount of inventory and chose the right product for each market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59" name="Google Shape;259;g23d3d1a5626_1_30"/>
          <p:cNvSpPr txBox="1"/>
          <p:nvPr/>
        </p:nvSpPr>
        <p:spPr>
          <a:xfrm>
            <a:off x="174575" y="111325"/>
            <a:ext cx="41283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60" name="Google Shape;260;g23d3d1a5626_1_30"/>
          <p:cNvSpPr txBox="1"/>
          <p:nvPr/>
        </p:nvSpPr>
        <p:spPr>
          <a:xfrm>
            <a:off x="174575" y="111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2. Inventory management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23d3d1a5626_1_18"/>
          <p:cNvSpPr txBox="1"/>
          <p:nvPr/>
        </p:nvSpPr>
        <p:spPr>
          <a:xfrm>
            <a:off x="174575" y="111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3. Delay shipment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aphicFrame>
        <p:nvGraphicFramePr>
          <p:cNvPr id="266" name="Google Shape;266;g23d3d1a5626_1_18"/>
          <p:cNvGraphicFramePr/>
          <p:nvPr/>
        </p:nvGraphicFramePr>
        <p:xfrm>
          <a:off x="586725" y="674020"/>
          <a:ext cx="7970550" cy="4257540"/>
        </p:xfrm>
        <a:graphic>
          <a:graphicData uri="http://schemas.openxmlformats.org/drawingml/2006/table">
            <a:tbl>
              <a:tblPr>
                <a:noFill/>
                <a:tableStyleId>{4B1EDE36-2210-4140-B68C-54EC92417216}</a:tableStyleId>
              </a:tblPr>
              <a:tblGrid>
                <a:gridCol w="2656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6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56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8400"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b="1">
                          <a:solidFill>
                            <a:schemeClr val="accent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Call to action</a:t>
                      </a:r>
                      <a:endParaRPr b="1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b="1">
                          <a:solidFill>
                            <a:schemeClr val="accent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Objective</a:t>
                      </a:r>
                      <a:endParaRPr b="1">
                        <a:solidFill>
                          <a:schemeClr val="accent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75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accent2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The  markets near the warehouse (North America, LATAM, Western Europe,...)</a:t>
                      </a:r>
                      <a:endParaRPr>
                        <a:solidFill>
                          <a:schemeClr val="accent2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Redesigned transportation route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Adopting a cross-docking strategy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Take advantage of Less - than - truckload  transportation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Reduce the turnaround time 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Reduce shipping time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49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accent2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The  markets far away from the warehouse (Asia Pacific, SEA,...)</a:t>
                      </a:r>
                      <a:endParaRPr>
                        <a:solidFill>
                          <a:schemeClr val="accent2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Establishing a warehouse in a strategic logistics hub like Singapore in Asia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Expand the company's control on global reach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Reduce the turnaround time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Reduce the shipping time to those markets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64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accent2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Both</a:t>
                      </a:r>
                      <a:endParaRPr>
                        <a:solidFill>
                          <a:schemeClr val="accent2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Collaboration with local logistics companies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  <a:latin typeface="Lato"/>
                          <a:ea typeface="Lato"/>
                          <a:cs typeface="Lato"/>
                          <a:sym typeface="Lato"/>
                        </a:rPr>
                        <a:t>- Leverage their local existing resources and expertise to optimize cost and supply chain </a:t>
                      </a:r>
                      <a:endParaRPr>
                        <a:solidFill>
                          <a:schemeClr val="dk1"/>
                        </a:solidFill>
                        <a:latin typeface="Lato"/>
                        <a:ea typeface="Lato"/>
                        <a:cs typeface="Lato"/>
                        <a:sym typeface="La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49"/>
          <p:cNvSpPr/>
          <p:nvPr/>
        </p:nvSpPr>
        <p:spPr>
          <a:xfrm>
            <a:off x="13" y="0"/>
            <a:ext cx="9144000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5400700" scaled="0"/>
          </a:gra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2" name="Google Shape;272;p49"/>
          <p:cNvSpPr txBox="1"/>
          <p:nvPr/>
        </p:nvSpPr>
        <p:spPr>
          <a:xfrm>
            <a:off x="209325" y="1999400"/>
            <a:ext cx="61422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Arial"/>
              <a:buNone/>
            </a:pPr>
            <a:r>
              <a:rPr lang="en" sz="38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rPr>
              <a:t>Thank you</a:t>
            </a:r>
            <a:endParaRPr sz="3800" b="1" i="0" u="none" strike="noStrike" cap="none">
              <a:solidFill>
                <a:schemeClr val="lt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2381a228482_0_45"/>
          <p:cNvSpPr txBox="1"/>
          <p:nvPr/>
        </p:nvSpPr>
        <p:spPr>
          <a:xfrm>
            <a:off x="954969" y="2185932"/>
            <a:ext cx="2241600" cy="7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Arial"/>
              <a:buNone/>
            </a:pPr>
            <a:r>
              <a:rPr lang="en" sz="4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Agenda</a:t>
            </a:r>
            <a:endParaRPr sz="11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0" name="Google Shape;110;g2381a228482_0_45"/>
          <p:cNvSpPr/>
          <p:nvPr/>
        </p:nvSpPr>
        <p:spPr>
          <a:xfrm>
            <a:off x="4322078" y="3729190"/>
            <a:ext cx="577200" cy="57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400" b="1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0</a:t>
            </a:r>
            <a:r>
              <a:rPr lang="en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3</a:t>
            </a:r>
            <a:endParaRPr sz="1100" b="1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1" name="Google Shape;111;g2381a228482_0_45"/>
          <p:cNvSpPr/>
          <p:nvPr/>
        </p:nvSpPr>
        <p:spPr>
          <a:xfrm>
            <a:off x="4322078" y="921526"/>
            <a:ext cx="577200" cy="57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" sz="1500" b="1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01</a:t>
            </a:r>
            <a:endParaRPr sz="1100" b="1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2" name="Google Shape;112;g2381a228482_0_45"/>
          <p:cNvSpPr txBox="1"/>
          <p:nvPr/>
        </p:nvSpPr>
        <p:spPr>
          <a:xfrm>
            <a:off x="5082350" y="1036950"/>
            <a:ext cx="3710700" cy="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1" i="0" u="none" strike="noStrike" cap="none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Briefing Recap</a:t>
            </a:r>
            <a:endParaRPr sz="1100" b="1" i="0" u="none" strike="noStrike" cap="none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3" name="Google Shape;113;g2381a228482_0_45"/>
          <p:cNvSpPr txBox="1"/>
          <p:nvPr/>
        </p:nvSpPr>
        <p:spPr>
          <a:xfrm>
            <a:off x="5153800" y="3838479"/>
            <a:ext cx="1432800" cy="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roposal</a:t>
            </a:r>
            <a:endParaRPr sz="11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4" name="Google Shape;114;g2381a228482_0_45"/>
          <p:cNvSpPr txBox="1"/>
          <p:nvPr/>
        </p:nvSpPr>
        <p:spPr>
          <a:xfrm>
            <a:off x="5153800" y="1404012"/>
            <a:ext cx="35508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127000" marR="0" lvl="0" indent="-1270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Medium"/>
              <a:buChar char="•"/>
            </a:pPr>
            <a:r>
              <a:rPr lang="en" sz="1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Business performance</a:t>
            </a:r>
            <a:endParaRPr sz="12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127000" marR="0" lvl="0" indent="-1270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Medium"/>
              <a:buChar char="•"/>
            </a:pPr>
            <a:r>
              <a:rPr lang="en" sz="1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Customer and Product</a:t>
            </a:r>
            <a:endParaRPr sz="12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127000" marR="0" lvl="0" indent="-1270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Medium"/>
              <a:buChar char="•"/>
            </a:pPr>
            <a:r>
              <a:rPr lang="en" sz="1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Inventory management</a:t>
            </a:r>
            <a:endParaRPr sz="12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115" name="Google Shape;115;g2381a228482_0_45"/>
          <p:cNvCxnSpPr/>
          <p:nvPr/>
        </p:nvCxnSpPr>
        <p:spPr>
          <a:xfrm>
            <a:off x="-1" y="524432"/>
            <a:ext cx="91440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" name="Google Shape;116;g2381a228482_0_45"/>
          <p:cNvSpPr txBox="1"/>
          <p:nvPr/>
        </p:nvSpPr>
        <p:spPr>
          <a:xfrm>
            <a:off x="400053" y="100981"/>
            <a:ext cx="1921800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2000">
                <a:solidFill>
                  <a:schemeClr val="dk1"/>
                </a:solidFill>
                <a:latin typeface="Oswald Light"/>
                <a:ea typeface="Oswald Light"/>
                <a:cs typeface="Oswald Light"/>
                <a:sym typeface="Oswald Light"/>
              </a:rPr>
              <a:t>Just in Time</a:t>
            </a:r>
            <a:endParaRPr sz="2200" b="0" i="0" u="none" strike="noStrike" cap="none">
              <a:solidFill>
                <a:schemeClr val="dk1"/>
              </a:solidFill>
              <a:latin typeface="Oswald Light"/>
              <a:ea typeface="Oswald Light"/>
              <a:cs typeface="Oswald Light"/>
              <a:sym typeface="Oswald Light"/>
            </a:endParaRPr>
          </a:p>
        </p:txBody>
      </p:sp>
      <p:sp>
        <p:nvSpPr>
          <p:cNvPr id="117" name="Google Shape;117;g2381a228482_0_45"/>
          <p:cNvSpPr/>
          <p:nvPr/>
        </p:nvSpPr>
        <p:spPr>
          <a:xfrm>
            <a:off x="4322078" y="2281340"/>
            <a:ext cx="577200" cy="57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400" b="1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0</a:t>
            </a:r>
            <a:r>
              <a:rPr lang="en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</a:t>
            </a:r>
            <a:endParaRPr sz="1100" b="1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8" name="Google Shape;118;g2381a228482_0_45"/>
          <p:cNvSpPr txBox="1"/>
          <p:nvPr/>
        </p:nvSpPr>
        <p:spPr>
          <a:xfrm>
            <a:off x="5153800" y="2390625"/>
            <a:ext cx="3710700" cy="3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1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Business Intelligence Analysis</a:t>
            </a:r>
            <a:endParaRPr sz="11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9" name="Google Shape;119;g2381a228482_0_45"/>
          <p:cNvSpPr txBox="1"/>
          <p:nvPr/>
        </p:nvSpPr>
        <p:spPr>
          <a:xfrm>
            <a:off x="5162300" y="2774012"/>
            <a:ext cx="35508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127000" marR="0" lvl="0" indent="-1270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Medium"/>
              <a:buChar char="•"/>
            </a:pPr>
            <a:r>
              <a:rPr lang="en" sz="120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Business downturn</a:t>
            </a:r>
            <a:endParaRPr sz="12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127000" marR="0" lvl="0" indent="-1270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Medium"/>
              <a:buChar char="•"/>
            </a:pPr>
            <a:r>
              <a:rPr lang="en" sz="120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Overstock and understock</a:t>
            </a:r>
            <a:endParaRPr sz="12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127000" marR="0" lvl="0" indent="-12700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unito Medium"/>
              <a:buChar char="•"/>
            </a:pPr>
            <a:r>
              <a:rPr lang="en" sz="120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Delay shipment</a:t>
            </a:r>
            <a:endParaRPr sz="12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4" name="Google Shape;124;g23d3d1a5626_0_50"/>
          <p:cNvCxnSpPr/>
          <p:nvPr/>
        </p:nvCxnSpPr>
        <p:spPr>
          <a:xfrm>
            <a:off x="-1" y="524432"/>
            <a:ext cx="9144000" cy="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" name="Google Shape;125;g23d3d1a5626_0_50"/>
          <p:cNvSpPr txBox="1"/>
          <p:nvPr/>
        </p:nvSpPr>
        <p:spPr>
          <a:xfrm>
            <a:off x="3091732" y="2121638"/>
            <a:ext cx="5550300" cy="9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</a:pPr>
            <a:r>
              <a:rPr lang="en" sz="5400" b="1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Briefing Recap</a:t>
            </a:r>
            <a:endParaRPr sz="54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6" name="Google Shape;126;g23d3d1a5626_0_50"/>
          <p:cNvSpPr/>
          <p:nvPr/>
        </p:nvSpPr>
        <p:spPr>
          <a:xfrm>
            <a:off x="1151378" y="1890337"/>
            <a:ext cx="1372800" cy="137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" sz="4500" b="1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01</a:t>
            </a:r>
            <a:endParaRPr sz="3300" b="1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7" name="Google Shape;127;g23d3d1a5626_0_50"/>
          <p:cNvSpPr txBox="1"/>
          <p:nvPr/>
        </p:nvSpPr>
        <p:spPr>
          <a:xfrm>
            <a:off x="400053" y="100981"/>
            <a:ext cx="1921800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2000">
                <a:solidFill>
                  <a:schemeClr val="dk1"/>
                </a:solidFill>
                <a:latin typeface="Oswald Light"/>
                <a:ea typeface="Oswald Light"/>
                <a:cs typeface="Oswald Light"/>
                <a:sym typeface="Oswald Light"/>
              </a:rPr>
              <a:t>Just in Time</a:t>
            </a:r>
            <a:endParaRPr sz="2200" b="0" i="0" u="none" strike="noStrike" cap="none">
              <a:solidFill>
                <a:schemeClr val="dk1"/>
              </a:solidFill>
              <a:latin typeface="Oswald Light"/>
              <a:ea typeface="Oswald Light"/>
              <a:cs typeface="Oswald Light"/>
              <a:sym typeface="Oswald Ligh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23d3d1a5626_0_15"/>
          <p:cNvSpPr txBox="1"/>
          <p:nvPr/>
        </p:nvSpPr>
        <p:spPr>
          <a:xfrm>
            <a:off x="215000" y="190950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1. Business performance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33" name="Google Shape;133;g23d3d1a5626_0_15"/>
          <p:cNvSpPr txBox="1"/>
          <p:nvPr/>
        </p:nvSpPr>
        <p:spPr>
          <a:xfrm>
            <a:off x="451550" y="3250625"/>
            <a:ext cx="38919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However, both net sales and profit 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dropped sharply</a:t>
            </a:r>
            <a:r>
              <a:rPr lang="en" sz="12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in Q4/2017</a:t>
            </a:r>
            <a:endParaRPr sz="1000">
              <a:solidFill>
                <a:srgbClr val="3F3F3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34" name="Google Shape;134;g23d3d1a5626_0_15"/>
          <p:cNvSpPr txBox="1"/>
          <p:nvPr/>
        </p:nvSpPr>
        <p:spPr>
          <a:xfrm>
            <a:off x="4732350" y="190950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2. Customer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35" name="Google Shape;135;g23d3d1a5626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1550" y="709575"/>
            <a:ext cx="4000208" cy="2499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6" name="Google Shape;136;g23d3d1a5626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774212" y="667950"/>
            <a:ext cx="3805428" cy="212585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7" name="Google Shape;137;g23d3d1a5626_0_15"/>
          <p:cNvCxnSpPr/>
          <p:nvPr/>
        </p:nvCxnSpPr>
        <p:spPr>
          <a:xfrm rot="10800000">
            <a:off x="7098425" y="1172150"/>
            <a:ext cx="0" cy="1399200"/>
          </a:xfrm>
          <a:prstGeom prst="straightConnector1">
            <a:avLst/>
          </a:prstGeom>
          <a:noFill/>
          <a:ln w="28575" cap="flat" cmpd="sng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</p:cxnSp>
      <p:pic>
        <p:nvPicPr>
          <p:cNvPr id="138" name="Google Shape;138;g23d3d1a5626_0_1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774200" y="2793800"/>
            <a:ext cx="3729300" cy="21836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Google Shape;143;g23d3d1a5626_1_5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4813" y="751200"/>
            <a:ext cx="4203576" cy="3105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4" name="Google Shape;144;g23d3d1a5626_1_5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336012" y="751200"/>
            <a:ext cx="4705463" cy="2977275"/>
          </a:xfrm>
          <a:prstGeom prst="rect">
            <a:avLst/>
          </a:prstGeom>
          <a:noFill/>
          <a:ln>
            <a:noFill/>
          </a:ln>
        </p:spPr>
      </p:pic>
      <p:sp>
        <p:nvSpPr>
          <p:cNvPr id="145" name="Google Shape;145;g23d3d1a5626_1_51"/>
          <p:cNvSpPr txBox="1"/>
          <p:nvPr/>
        </p:nvSpPr>
        <p:spPr>
          <a:xfrm>
            <a:off x="222450" y="207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3. Product 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46" name="Google Shape;146;g23d3d1a5626_1_51"/>
          <p:cNvSpPr txBox="1"/>
          <p:nvPr/>
        </p:nvSpPr>
        <p:spPr>
          <a:xfrm>
            <a:off x="359625" y="3772250"/>
            <a:ext cx="3762000" cy="6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These three departments alone account for more than </a:t>
            </a:r>
            <a:r>
              <a:rPr lang="en" sz="15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70%</a:t>
            </a:r>
            <a:r>
              <a:rPr lang="en" sz="12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 of orders</a:t>
            </a:r>
            <a:endParaRPr sz="1000">
              <a:solidFill>
                <a:srgbClr val="3F3F3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47" name="Google Shape;147;g23d3d1a5626_1_51"/>
          <p:cNvSpPr txBox="1"/>
          <p:nvPr/>
        </p:nvSpPr>
        <p:spPr>
          <a:xfrm>
            <a:off x="4501275" y="3795350"/>
            <a:ext cx="41283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There are no product names out of the top 9 could reach 1000 orders</a:t>
            </a:r>
            <a:endParaRPr sz="1000">
              <a:solidFill>
                <a:srgbClr val="3F3F3F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148" name="Google Shape;148;g23d3d1a5626_1_51"/>
          <p:cNvCxnSpPr/>
          <p:nvPr/>
        </p:nvCxnSpPr>
        <p:spPr>
          <a:xfrm rot="10800000">
            <a:off x="7452100" y="1505725"/>
            <a:ext cx="0" cy="1949400"/>
          </a:xfrm>
          <a:prstGeom prst="straightConnector1">
            <a:avLst/>
          </a:prstGeom>
          <a:noFill/>
          <a:ln w="28575" cap="flat" cmpd="sng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g23d3d1a5626_0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12125" y="513693"/>
            <a:ext cx="3802575" cy="2000908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g23d3d1a5626_0_38"/>
          <p:cNvSpPr txBox="1"/>
          <p:nvPr/>
        </p:nvSpPr>
        <p:spPr>
          <a:xfrm>
            <a:off x="215000" y="997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4. Inventory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55" name="Google Shape;155;g23d3d1a5626_0_38"/>
          <p:cNvSpPr txBox="1"/>
          <p:nvPr/>
        </p:nvSpPr>
        <p:spPr>
          <a:xfrm>
            <a:off x="2762500" y="743275"/>
            <a:ext cx="18246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b="1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In which, most of the orders are shipped from the US</a:t>
            </a:r>
            <a:endParaRPr sz="800" b="1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156" name="Google Shape;156;g23d3d1a5626_0_38"/>
          <p:cNvCxnSpPr>
            <a:endCxn id="155" idx="2"/>
          </p:cNvCxnSpPr>
          <p:nvPr/>
        </p:nvCxnSpPr>
        <p:spPr>
          <a:xfrm rot="10800000" flipH="1">
            <a:off x="2672800" y="1312675"/>
            <a:ext cx="1002000" cy="4611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57" name="Google Shape;157;g23d3d1a5626_0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911750" y="89050"/>
            <a:ext cx="3495700" cy="2489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8" name="Google Shape;158;g23d3d1a5626_0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689275" y="2551425"/>
            <a:ext cx="4356999" cy="2355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" name="Google Shape;159;g23d3d1a5626_0_38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30100" y="2619775"/>
            <a:ext cx="4357000" cy="2287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4" name="Google Shape;164;g23d3d1a5626_0_64"/>
          <p:cNvCxnSpPr/>
          <p:nvPr/>
        </p:nvCxnSpPr>
        <p:spPr>
          <a:xfrm>
            <a:off x="-1" y="524432"/>
            <a:ext cx="9144000" cy="0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" name="Google Shape;165;g23d3d1a5626_0_64"/>
          <p:cNvSpPr txBox="1"/>
          <p:nvPr/>
        </p:nvSpPr>
        <p:spPr>
          <a:xfrm>
            <a:off x="3091732" y="2121638"/>
            <a:ext cx="5550300" cy="12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</a:pPr>
            <a:r>
              <a:rPr lang="en" sz="3900" b="1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Business Intelligence Analysis</a:t>
            </a:r>
            <a:endParaRPr sz="39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6" name="Google Shape;166;g23d3d1a5626_0_64"/>
          <p:cNvSpPr/>
          <p:nvPr/>
        </p:nvSpPr>
        <p:spPr>
          <a:xfrm>
            <a:off x="1151378" y="1890337"/>
            <a:ext cx="1372800" cy="137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en" sz="4500" b="1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0</a:t>
            </a:r>
            <a:r>
              <a:rPr lang="en" sz="4500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</a:t>
            </a:r>
            <a:endParaRPr sz="3300" b="1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7" name="Google Shape;167;g23d3d1a5626_0_64"/>
          <p:cNvSpPr txBox="1"/>
          <p:nvPr/>
        </p:nvSpPr>
        <p:spPr>
          <a:xfrm>
            <a:off x="400053" y="100981"/>
            <a:ext cx="1921800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2000">
                <a:solidFill>
                  <a:schemeClr val="dk1"/>
                </a:solidFill>
                <a:latin typeface="Oswald Light"/>
                <a:ea typeface="Oswald Light"/>
                <a:cs typeface="Oswald Light"/>
                <a:sym typeface="Oswald Light"/>
              </a:rPr>
              <a:t>Just in Time</a:t>
            </a:r>
            <a:endParaRPr sz="2200" b="0" i="0" u="none" strike="noStrike" cap="none">
              <a:solidFill>
                <a:schemeClr val="dk1"/>
              </a:solidFill>
              <a:latin typeface="Oswald Light"/>
              <a:ea typeface="Oswald Light"/>
              <a:cs typeface="Oswald Light"/>
              <a:sym typeface="Oswald Ligh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g23d3d1a5626_0_96"/>
          <p:cNvSpPr/>
          <p:nvPr/>
        </p:nvSpPr>
        <p:spPr>
          <a:xfrm>
            <a:off x="1098750" y="4133400"/>
            <a:ext cx="6946500" cy="6813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6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he absence of the old leading - best selling departments (Apparel, Fanshop, Footwear, Golf), was closely linked to this downturn.</a:t>
            </a:r>
            <a:endParaRPr sz="1600" b="1" i="0" u="none" strike="noStrike" cap="none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73" name="Google Shape;173;g23d3d1a5626_0_96"/>
          <p:cNvSpPr txBox="1"/>
          <p:nvPr/>
        </p:nvSpPr>
        <p:spPr>
          <a:xfrm>
            <a:off x="6377550" y="1492800"/>
            <a:ext cx="2619900" cy="8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 b="1" u="sng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Apparel, Fanshop, Footwear and Golf</a:t>
            </a:r>
            <a:r>
              <a:rPr lang="en" sz="1200" b="1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r>
              <a:rPr lang="en" sz="1200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which were instrumental to business’s success has suddenly plummeted and </a:t>
            </a:r>
            <a:r>
              <a:rPr lang="en" sz="1200" u="sng">
                <a:solidFill>
                  <a:schemeClr val="accent2"/>
                </a:solidFill>
                <a:latin typeface="Lato"/>
                <a:ea typeface="Lato"/>
                <a:cs typeface="Lato"/>
                <a:sym typeface="Lato"/>
              </a:rPr>
              <a:t>almost disappeared.</a:t>
            </a:r>
            <a:endParaRPr sz="1200" u="sng">
              <a:solidFill>
                <a:schemeClr val="accent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74" name="Google Shape;174;g23d3d1a5626_0_96"/>
          <p:cNvSpPr txBox="1"/>
          <p:nvPr/>
        </p:nvSpPr>
        <p:spPr>
          <a:xfrm>
            <a:off x="174575" y="111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1. Business downturn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75" name="Google Shape;175;g23d3d1a5626_0_9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9400" y="588325"/>
            <a:ext cx="6060150" cy="3332450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g23d3d1a5626_0_96"/>
          <p:cNvSpPr txBox="1"/>
          <p:nvPr/>
        </p:nvSpPr>
        <p:spPr>
          <a:xfrm>
            <a:off x="6399550" y="2590975"/>
            <a:ext cx="2661300" cy="7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Meanwhile, the product departments such as </a:t>
            </a:r>
            <a:r>
              <a:rPr lang="en" sz="1200" b="1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Technology and Discs Shop </a:t>
            </a:r>
            <a:r>
              <a:rPr lang="en" sz="1200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showed </a:t>
            </a:r>
            <a:r>
              <a:rPr lang="en" sz="1200" u="sng">
                <a:solidFill>
                  <a:schemeClr val="accent3"/>
                </a:solidFill>
                <a:latin typeface="Lato"/>
                <a:ea typeface="Lato"/>
                <a:cs typeface="Lato"/>
                <a:sym typeface="Lato"/>
              </a:rPr>
              <a:t>potential growth </a:t>
            </a:r>
            <a:endParaRPr u="sng">
              <a:solidFill>
                <a:schemeClr val="accent3"/>
              </a:solidFill>
            </a:endParaRPr>
          </a:p>
        </p:txBody>
      </p:sp>
      <p:cxnSp>
        <p:nvCxnSpPr>
          <p:cNvPr id="177" name="Google Shape;177;g23d3d1a5626_0_96"/>
          <p:cNvCxnSpPr>
            <a:stCxn id="175" idx="3"/>
          </p:cNvCxnSpPr>
          <p:nvPr/>
        </p:nvCxnSpPr>
        <p:spPr>
          <a:xfrm flipH="1">
            <a:off x="5830750" y="2254550"/>
            <a:ext cx="568800" cy="189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8" name="Google Shape;178;g23d3d1a5626_0_96"/>
          <p:cNvCxnSpPr>
            <a:stCxn id="176" idx="1"/>
          </p:cNvCxnSpPr>
          <p:nvPr/>
        </p:nvCxnSpPr>
        <p:spPr>
          <a:xfrm rot="10800000">
            <a:off x="5881150" y="2889925"/>
            <a:ext cx="518400" cy="981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" name="Google Shape;183;g23d4cef3ccd_0_1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1450" y="513900"/>
            <a:ext cx="6324600" cy="3619500"/>
          </a:xfrm>
          <a:prstGeom prst="rect">
            <a:avLst/>
          </a:prstGeom>
          <a:noFill/>
          <a:ln>
            <a:noFill/>
          </a:ln>
        </p:spPr>
      </p:pic>
      <p:sp>
        <p:nvSpPr>
          <p:cNvPr id="184" name="Google Shape;184;g23d4cef3ccd_0_10"/>
          <p:cNvSpPr/>
          <p:nvPr/>
        </p:nvSpPr>
        <p:spPr>
          <a:xfrm>
            <a:off x="1098750" y="4133400"/>
            <a:ext cx="6946500" cy="681300"/>
          </a:xfrm>
          <a:prstGeom prst="roundRect">
            <a:avLst>
              <a:gd name="adj" fmla="val 16667"/>
            </a:avLst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600" b="1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his decline was not due to changing customer preferences, but rather a supply chain disruption from supplier network</a:t>
            </a:r>
            <a:endParaRPr sz="1600" b="1" i="0" u="none" strike="noStrike" cap="none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85" name="Google Shape;185;g23d4cef3ccd_0_10"/>
          <p:cNvSpPr txBox="1"/>
          <p:nvPr/>
        </p:nvSpPr>
        <p:spPr>
          <a:xfrm>
            <a:off x="6377550" y="976625"/>
            <a:ext cx="2619900" cy="88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2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rPr>
              <a:t>Inventories of </a:t>
            </a:r>
            <a:r>
              <a:rPr lang="en" sz="1200" b="1" u="sng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rPr>
              <a:t>Apparel, Fanshop, Footwear and Golf </a:t>
            </a:r>
            <a:r>
              <a:rPr lang="en" sz="1200" b="1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rPr>
              <a:t>almost disappeared even though there was no sign of a sharp decrease before.</a:t>
            </a:r>
            <a:endParaRPr sz="1200">
              <a:solidFill>
                <a:schemeClr val="lt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86" name="Google Shape;186;g23d4cef3ccd_0_10"/>
          <p:cNvSpPr txBox="1"/>
          <p:nvPr/>
        </p:nvSpPr>
        <p:spPr>
          <a:xfrm>
            <a:off x="174575" y="111325"/>
            <a:ext cx="41283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9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1. Business downturn</a:t>
            </a:r>
            <a:endParaRPr sz="9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87" name="Google Shape;187;g23d4cef3ccd_0_10"/>
          <p:cNvSpPr txBox="1"/>
          <p:nvPr/>
        </p:nvSpPr>
        <p:spPr>
          <a:xfrm>
            <a:off x="6399550" y="2209975"/>
            <a:ext cx="2796000" cy="79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New departments like </a:t>
            </a:r>
            <a:r>
              <a:rPr lang="en" sz="1200" u="sng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Technology </a:t>
            </a:r>
            <a:r>
              <a:rPr lang="en" sz="12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suddenly had an </a:t>
            </a:r>
            <a:r>
              <a:rPr lang="en" sz="1200" u="sng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increase</a:t>
            </a:r>
            <a:r>
              <a:rPr lang="en" sz="12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in inventory follow by a gradual decrease</a:t>
            </a:r>
            <a:endParaRPr>
              <a:solidFill>
                <a:schemeClr val="accent1"/>
              </a:solidFill>
            </a:endParaRPr>
          </a:p>
        </p:txBody>
      </p:sp>
      <p:cxnSp>
        <p:nvCxnSpPr>
          <p:cNvPr id="188" name="Google Shape;188;g23d4cef3ccd_0_10"/>
          <p:cNvCxnSpPr>
            <a:stCxn id="185" idx="1"/>
          </p:cNvCxnSpPr>
          <p:nvPr/>
        </p:nvCxnSpPr>
        <p:spPr>
          <a:xfrm flipH="1">
            <a:off x="909450" y="1417625"/>
            <a:ext cx="5468100" cy="6639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9" name="Google Shape;189;g23d4cef3ccd_0_10"/>
          <p:cNvCxnSpPr>
            <a:stCxn id="185" idx="1"/>
          </p:cNvCxnSpPr>
          <p:nvPr/>
        </p:nvCxnSpPr>
        <p:spPr>
          <a:xfrm flipH="1">
            <a:off x="5052450" y="1417625"/>
            <a:ext cx="1325100" cy="8964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0" name="Google Shape;190;g23d4cef3ccd_0_10"/>
          <p:cNvCxnSpPr>
            <a:stCxn id="187" idx="1"/>
          </p:cNvCxnSpPr>
          <p:nvPr/>
        </p:nvCxnSpPr>
        <p:spPr>
          <a:xfrm flipH="1">
            <a:off x="5658850" y="2607025"/>
            <a:ext cx="740700" cy="6063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715</Words>
  <Application>Microsoft Office PowerPoint</Application>
  <PresentationFormat>On-screen Show (16:9)</PresentationFormat>
  <Paragraphs>95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Nunito Medium</vt:lpstr>
      <vt:lpstr>Oswald Light</vt:lpstr>
      <vt:lpstr>Fira Sans Extra Condensed</vt:lpstr>
      <vt:lpstr>Montserrat</vt:lpstr>
      <vt:lpstr>Aptos Display</vt:lpstr>
      <vt:lpstr>Lato</vt:lpstr>
      <vt:lpstr>Open Sans</vt:lpstr>
      <vt:lpstr>Arial</vt:lpstr>
      <vt:lpstr>Aptos</vt:lpstr>
      <vt:lpstr>Roboto</vt:lpstr>
      <vt:lpstr>Office Theme</vt:lpstr>
      <vt:lpstr>think-cell Slide</vt:lpstr>
      <vt:lpstr>Supply Chain Analytics  Maersk Supply Chain Optimization  Rohan Giri MS in Business Analytic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Giri, Rohan</cp:lastModifiedBy>
  <cp:revision>2</cp:revision>
  <dcterms:modified xsi:type="dcterms:W3CDTF">2024-12-30T04:28:31Z</dcterms:modified>
</cp:coreProperties>
</file>